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58"/>
  </p:notesMasterIdLst>
  <p:sldIdLst>
    <p:sldId id="256" r:id="rId5"/>
    <p:sldId id="556" r:id="rId6"/>
    <p:sldId id="606" r:id="rId7"/>
    <p:sldId id="607" r:id="rId8"/>
    <p:sldId id="608" r:id="rId9"/>
    <p:sldId id="609" r:id="rId10"/>
    <p:sldId id="610" r:id="rId11"/>
    <p:sldId id="611" r:id="rId12"/>
    <p:sldId id="612" r:id="rId13"/>
    <p:sldId id="613" r:id="rId14"/>
    <p:sldId id="614" r:id="rId15"/>
    <p:sldId id="645" r:id="rId16"/>
    <p:sldId id="646" r:id="rId17"/>
    <p:sldId id="649" r:id="rId18"/>
    <p:sldId id="647" r:id="rId19"/>
    <p:sldId id="650" r:id="rId20"/>
    <p:sldId id="648" r:id="rId21"/>
    <p:sldId id="619" r:id="rId22"/>
    <p:sldId id="620" r:id="rId23"/>
    <p:sldId id="621" r:id="rId24"/>
    <p:sldId id="622" r:id="rId25"/>
    <p:sldId id="623" r:id="rId26"/>
    <p:sldId id="624" r:id="rId27"/>
    <p:sldId id="625" r:id="rId28"/>
    <p:sldId id="626" r:id="rId29"/>
    <p:sldId id="651" r:id="rId30"/>
    <p:sldId id="628" r:id="rId31"/>
    <p:sldId id="629" r:id="rId32"/>
    <p:sldId id="630" r:id="rId33"/>
    <p:sldId id="652" r:id="rId34"/>
    <p:sldId id="631" r:id="rId35"/>
    <p:sldId id="632" r:id="rId36"/>
    <p:sldId id="633" r:id="rId37"/>
    <p:sldId id="634" r:id="rId38"/>
    <p:sldId id="635" r:id="rId39"/>
    <p:sldId id="636" r:id="rId40"/>
    <p:sldId id="637" r:id="rId41"/>
    <p:sldId id="638" r:id="rId42"/>
    <p:sldId id="639" r:id="rId43"/>
    <p:sldId id="640" r:id="rId44"/>
    <p:sldId id="641" r:id="rId45"/>
    <p:sldId id="642" r:id="rId46"/>
    <p:sldId id="643" r:id="rId47"/>
    <p:sldId id="644" r:id="rId48"/>
    <p:sldId id="653" r:id="rId49"/>
    <p:sldId id="655" r:id="rId50"/>
    <p:sldId id="657" r:id="rId51"/>
    <p:sldId id="659" r:id="rId52"/>
    <p:sldId id="658" r:id="rId53"/>
    <p:sldId id="604" r:id="rId54"/>
    <p:sldId id="605" r:id="rId55"/>
    <p:sldId id="495" r:id="rId56"/>
    <p:sldId id="454"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45"/>
            <p14:sldId id="646"/>
            <p14:sldId id="649"/>
            <p14:sldId id="647"/>
            <p14:sldId id="650"/>
            <p14:sldId id="648"/>
            <p14:sldId id="619"/>
            <p14:sldId id="620"/>
            <p14:sldId id="621"/>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40"/>
            <p14:sldId id="641"/>
            <p14:sldId id="642"/>
            <p14:sldId id="643"/>
            <p14:sldId id="644"/>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101" autoAdjust="0"/>
  </p:normalViewPr>
  <p:slideViewPr>
    <p:cSldViewPr snapToGrid="0">
      <p:cViewPr varScale="1">
        <p:scale>
          <a:sx n="78" d="100"/>
          <a:sy n="78" d="100"/>
        </p:scale>
        <p:origin x="878" y="91"/>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8/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8/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8/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29.em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emf"/><Relationship Id="rId18" Type="http://schemas.openxmlformats.org/officeDocument/2006/relationships/image" Target="../media/image25.emf"/><Relationship Id="rId3" Type="http://schemas.openxmlformats.org/officeDocument/2006/relationships/image" Target="../media/image10.emf"/><Relationship Id="rId7" Type="http://schemas.openxmlformats.org/officeDocument/2006/relationships/image" Target="../media/image14.emf"/><Relationship Id="rId12" Type="http://schemas.openxmlformats.org/officeDocument/2006/relationships/image" Target="../media/image19.emf"/><Relationship Id="rId17" Type="http://schemas.openxmlformats.org/officeDocument/2006/relationships/image" Target="../media/image24.emf"/><Relationship Id="rId2" Type="http://schemas.openxmlformats.org/officeDocument/2006/relationships/notesSlide" Target="../notesSlides/notesSlide5.xml"/><Relationship Id="rId16" Type="http://schemas.openxmlformats.org/officeDocument/2006/relationships/image" Target="../media/image23.emf"/><Relationship Id="rId1" Type="http://schemas.openxmlformats.org/officeDocument/2006/relationships/slideLayout" Target="../slideLayouts/slideLayout6.xml"/><Relationship Id="rId6" Type="http://schemas.openxmlformats.org/officeDocument/2006/relationships/image" Target="../media/image13.emf"/><Relationship Id="rId11" Type="http://schemas.openxmlformats.org/officeDocument/2006/relationships/image" Target="../media/image18.emf"/><Relationship Id="rId5" Type="http://schemas.openxmlformats.org/officeDocument/2006/relationships/image" Target="../media/image12.emf"/><Relationship Id="rId15" Type="http://schemas.openxmlformats.org/officeDocument/2006/relationships/image" Target="../media/image22.emf"/><Relationship Id="rId10" Type="http://schemas.openxmlformats.org/officeDocument/2006/relationships/image" Target="../media/image17.emf"/><Relationship Id="rId4" Type="http://schemas.openxmlformats.org/officeDocument/2006/relationships/image" Target="../media/image11.emf"/><Relationship Id="rId9" Type="http://schemas.openxmlformats.org/officeDocument/2006/relationships/image" Target="../media/image16.emf"/><Relationship Id="rId14" Type="http://schemas.openxmlformats.org/officeDocument/2006/relationships/image" Target="../media/image2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9.xml"/><Relationship Id="rId16" Type="http://schemas.openxmlformats.org/officeDocument/2006/relationships/image" Target="../media/image44.png"/><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 xmlns:a16="http://schemas.microsoft.com/office/drawing/2014/main"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 xmlns:a16="http://schemas.microsoft.com/office/drawing/2014/main"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 xmlns:a16="http://schemas.microsoft.com/office/drawing/2014/main"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 xmlns:a16="http://schemas.microsoft.com/office/drawing/2014/main"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 xmlns:a16="http://schemas.microsoft.com/office/drawing/2014/main"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 xmlns:a16="http://schemas.microsoft.com/office/drawing/2014/main"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 xmlns:a16="http://schemas.microsoft.com/office/drawing/2014/main"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 xmlns:a16="http://schemas.microsoft.com/office/drawing/2014/main"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 xmlns:a16="http://schemas.microsoft.com/office/drawing/2014/main"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 xmlns:a16="http://schemas.microsoft.com/office/drawing/2014/main"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 xmlns:a16="http://schemas.microsoft.com/office/drawing/2014/main"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 xmlns:a16="http://schemas.microsoft.com/office/drawing/2014/main"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 xmlns:a16="http://schemas.microsoft.com/office/drawing/2014/main"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 xmlns:a16="http://schemas.microsoft.com/office/drawing/2014/main"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 xmlns:a16="http://schemas.microsoft.com/office/drawing/2014/main"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 xmlns:a16="http://schemas.microsoft.com/office/drawing/2014/main"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 xmlns:a16="http://schemas.microsoft.com/office/drawing/2014/main"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 xmlns:a16="http://schemas.microsoft.com/office/drawing/2014/main"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 xmlns:a16="http://schemas.microsoft.com/office/drawing/2014/main"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20413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20000"/>
                <a:lumOff val="80000"/>
              </a:schemeClr>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tx1">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204139"/>
            <a:ext cx="3582888" cy="1003037"/>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207176"/>
            <a:ext cx="3577456" cy="41645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20413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1">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1">
                        <a:alpha val="99000"/>
                      </a:schemeClr>
                    </a:solidFill>
                    <a:latin typeface="+mn-lt"/>
                  </a:rPr>
                  <a:t>Scripting </a:t>
                </a:r>
              </a:p>
              <a:p>
                <a:pPr algn="ctr"/>
                <a:r>
                  <a:rPr lang="en-US" sz="1600" dirty="0">
                    <a:solidFill>
                      <a:schemeClr val="tx1">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1">
                        <a:alpha val="99000"/>
                      </a:schemeClr>
                    </a:solidFill>
                    <a:latin typeface="+mn-lt"/>
                  </a:rPr>
                  <a:t>REST API</a:t>
                </a:r>
              </a:p>
            </p:txBody>
          </p:sp>
        </p:grpSp>
      </p:grpSp>
      <p:grpSp>
        <p:nvGrpSpPr>
          <p:cNvPr id="52" name="Group 51"/>
          <p:cNvGrpSpPr/>
          <p:nvPr/>
        </p:nvGrpSpPr>
        <p:grpSpPr>
          <a:xfrm>
            <a:off x="8229051" y="291819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52836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15110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42393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31951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03709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158860"/>
            <a:ext cx="918253" cy="839093"/>
          </a:xfrm>
          <a:prstGeom prst="rect">
            <a:avLst/>
          </a:prstGeom>
        </p:spPr>
      </p:pic>
      <p:pic>
        <p:nvPicPr>
          <p:cNvPr id="14" name="Picture 13"/>
          <p:cNvPicPr>
            <a:picLocks noChangeAspect="1"/>
          </p:cNvPicPr>
          <p:nvPr/>
        </p:nvPicPr>
        <p:blipFill rotWithShape="1">
          <a:blip r:embed="rId7">
            <a:duotone>
              <a:prstClr val="black"/>
              <a:schemeClr val="tx2">
                <a:tint val="45000"/>
                <a:satMod val="400000"/>
              </a:schemeClr>
            </a:duotone>
          </a:blip>
          <a:srcRect r="82617"/>
          <a:stretch/>
        </p:blipFill>
        <p:spPr>
          <a:xfrm>
            <a:off x="4365203" y="236037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55</TotalTime>
  <Words>4539</Words>
  <Application>Microsoft Office PowerPoint</Application>
  <PresentationFormat>Widescreen</PresentationFormat>
  <Paragraphs>821</Paragraphs>
  <Slides>53</Slides>
  <Notes>32</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宋体</vt:lpstr>
      <vt:lpstr>Arial</vt:lpstr>
      <vt:lpstr>Calibri</vt:lpstr>
      <vt:lpstr>Courier New</vt:lpstr>
      <vt:lpstr>Segoe Light</vt:lpstr>
      <vt:lpstr>Segoe Pro Display Light</vt:lpstr>
      <vt:lpstr>Segoe Pro Display Semibold</vt:lpstr>
      <vt:lpstr>Segoe UI</vt:lpstr>
      <vt:lpstr>Segoe UI Light</vt:lpstr>
      <vt:lpstr>Segoe UI Semibold</vt:lpstr>
      <vt:lpstr>Wingdings</vt:lpstr>
      <vt:lpstr>1_Azure Event</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emo: Add an extension to a VM instance</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Bret Stateham</cp:lastModifiedBy>
  <cp:revision>23</cp:revision>
  <cp:lastPrinted>2014-03-26T17:46:13Z</cp:lastPrinted>
  <dcterms:created xsi:type="dcterms:W3CDTF">2015-04-27T14:53:15Z</dcterms:created>
  <dcterms:modified xsi:type="dcterms:W3CDTF">2015-08-24T17: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